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  <p:sldMasterId id="2147483684" r:id="rId6"/>
    <p:sldMasterId id="2147483672" r:id="rId7"/>
    <p:sldMasterId id="2147483660" r:id="rId8"/>
  </p:sldMasterIdLst>
  <p:notesMasterIdLst>
    <p:notesMasterId r:id="rId13"/>
  </p:notesMasterIdLst>
  <p:handoutMasterIdLst>
    <p:handoutMasterId r:id="rId14"/>
  </p:handoutMasterIdLst>
  <p:sldIdLst>
    <p:sldId id="355" r:id="rId9"/>
    <p:sldId id="358" r:id="rId10"/>
    <p:sldId id="360" r:id="rId11"/>
    <p:sldId id="361" r:id="rId1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E9732"/>
    <a:srgbClr val="DDDDDD"/>
    <a:srgbClr val="C7C7C7"/>
    <a:srgbClr val="C1D82F"/>
    <a:srgbClr val="00467F"/>
    <a:srgbClr val="0079C1"/>
    <a:srgbClr val="9A51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226" autoAdjust="0"/>
    <p:restoredTop sz="85593" autoAdjust="0"/>
  </p:normalViewPr>
  <p:slideViewPr>
    <p:cSldViewPr>
      <p:cViewPr>
        <p:scale>
          <a:sx n="70" d="100"/>
          <a:sy n="70" d="100"/>
        </p:scale>
        <p:origin x="1968" y="6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66" d="100"/>
          <a:sy n="66" d="100"/>
        </p:scale>
        <p:origin x="3134" y="7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1.xml"/><Relationship Id="rId15" Type="http://schemas.openxmlformats.org/officeDocument/2006/relationships/presProps" Target="presProps.xml"/><Relationship Id="rId10" Type="http://schemas.openxmlformats.org/officeDocument/2006/relationships/slide" Target="slides/slide2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734DFD-218A-47B8-83E1-7A8CEFFF9FCA}" type="datetimeFigureOut">
              <a:rPr lang="en-US" smtClean="0"/>
              <a:t>5/8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727C66-4CFB-41AD-812D-D01FE70883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32369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48593BF-DE0C-4C87-AC3D-0A189E42EA2F}" type="datetimeFigureOut">
              <a:rPr lang="en-US" smtClean="0"/>
              <a:t>5/8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98AF6E4-792C-457C-A2ED-C81C48D2AA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28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8AF6E4-792C-457C-A2ED-C81C48D2AA2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51907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vers seven total FY’s (2022-2028)</a:t>
            </a:r>
          </a:p>
          <a:p>
            <a:endParaRPr lang="en-US" dirty="0"/>
          </a:p>
          <a:p>
            <a:r>
              <a:rPr lang="en-US" dirty="0"/>
              <a:t>3 year rate period is preferred over another 2 year rate period followed by a 1 year rate period.</a:t>
            </a:r>
          </a:p>
          <a:p>
            <a:endParaRPr lang="en-US" dirty="0"/>
          </a:p>
          <a:p>
            <a:r>
              <a:rPr lang="en-US" dirty="0"/>
              <a:t>Cost management benchmarks are using GDP Price Deflator and Employment Cost Inde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8AF6E4-792C-457C-A2ED-C81C48D2AA2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58068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yton Dam repairs, McCall holding pond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8AF6E4-792C-457C-A2ED-C81C48D2AA29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96012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8AF6E4-792C-457C-A2ED-C81C48D2AA29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30508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00" b="43750"/>
          <a:stretch/>
        </p:blipFill>
        <p:spPr>
          <a:xfrm>
            <a:off x="0" y="0"/>
            <a:ext cx="9144000" cy="31546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3200402"/>
            <a:ext cx="7772400" cy="1470025"/>
          </a:xfrm>
        </p:spPr>
        <p:txBody>
          <a:bodyPr>
            <a:normAutofit/>
          </a:bodyPr>
          <a:lstStyle>
            <a:lvl1pPr algn="ctr">
              <a:defRPr sz="4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8768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3108960"/>
            <a:ext cx="9144000" cy="91440"/>
          </a:xfrm>
          <a:prstGeom prst="rect">
            <a:avLst/>
          </a:prstGeom>
          <a:solidFill>
            <a:srgbClr val="DDDD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0247" y="5899768"/>
            <a:ext cx="921016" cy="648679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0" y="134780"/>
            <a:ext cx="92964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spc="157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NNEVILLE</a:t>
            </a:r>
            <a:r>
              <a:rPr lang="en-US" sz="1000" spc="1570" baseline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OWER ADMINISTRATION</a:t>
            </a:r>
            <a:endParaRPr lang="en-US" sz="1000" spc="157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356352"/>
            <a:ext cx="5562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l"/>
            <a:r>
              <a:rPr lang="en-US"/>
              <a:t>Confidential, Deliberative Document For Discussion Purposes Only.  Do Not Distribute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49302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, Deliberative Document For Discussion Purposes Only.  Do Not Distribute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2B654F-B615-44E0-B6B8-7C8B3AFAF8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48612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, Deliberative Document For Discussion Purposes Only.  Do Not Distribute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2B654F-B615-44E0-B6B8-7C8B3AFAF8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22341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, Deliberative Document For Discussion Purposes Only.  Do Not Distribute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2B654F-B615-44E0-B6B8-7C8B3AFAF8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03793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, Deliberative Document For Discussion Purposes Only.  Do Not Distribute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2B654F-B615-44E0-B6B8-7C8B3AFAF8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09144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, Deliberative Document For Discussion Purposes Only.  Do Not Distribute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2B654F-B615-44E0-B6B8-7C8B3AFAF8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28735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, Deliberative Document For Discussion Purposes Only.  Do Not Distribut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2B654F-B615-44E0-B6B8-7C8B3AFAF8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67173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, Deliberative Document For Discussion Purposes Only.  Do Not Distribute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2B654F-B615-44E0-B6B8-7C8B3AFAF8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85334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, Deliberative Document For Discussion Purposes Only.  Do Not Distribute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2B654F-B615-44E0-B6B8-7C8B3AFAF8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821202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, Deliberative Document For Discussion Purposes Only.  Do Not Distribute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2B654F-B615-44E0-B6B8-7C8B3AFAF8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803214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, Deliberative Document For Discussion Purposes Only.  Do Not Distribute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2B654F-B615-44E0-B6B8-7C8B3AFAF8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98053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685800" y="3200402"/>
            <a:ext cx="7772400" cy="1470025"/>
          </a:xfrm>
        </p:spPr>
        <p:txBody>
          <a:bodyPr>
            <a:normAutofit/>
          </a:bodyPr>
          <a:lstStyle>
            <a:lvl1pPr algn="ctr">
              <a:defRPr sz="4200">
                <a:solidFill>
                  <a:srgbClr val="5E973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1371600" y="48768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rgbClr val="5E973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0247" y="5899768"/>
            <a:ext cx="921016" cy="64867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00" b="43750"/>
          <a:stretch/>
        </p:blipFill>
        <p:spPr>
          <a:xfrm>
            <a:off x="0" y="0"/>
            <a:ext cx="9144000" cy="315468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3108960"/>
            <a:ext cx="9144000" cy="91440"/>
          </a:xfrm>
          <a:prstGeom prst="rect">
            <a:avLst/>
          </a:prstGeom>
          <a:solidFill>
            <a:srgbClr val="DDDD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0" y="134780"/>
            <a:ext cx="92964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spc="157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NNEVILLE</a:t>
            </a:r>
            <a:r>
              <a:rPr lang="en-US" sz="1000" spc="1570" baseline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OWER ADMINISTRATION</a:t>
            </a:r>
            <a:endParaRPr lang="en-US" sz="1000" spc="157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356352"/>
            <a:ext cx="5562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l"/>
            <a:r>
              <a:rPr lang="en-US"/>
              <a:t>Confidential, Deliberative Document For Discussion Purposes Only.  Do Not Distribute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164797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, Deliberative Document For Discussion Purposes Only.  Do Not Distribute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EDD06C-63B5-4C70-A486-31AD6F7916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70042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, Deliberative Document For Discussion Purposes Only.  Do Not Distribute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EDD06C-63B5-4C70-A486-31AD6F7916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128070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, Deliberative Document For Discussion Purposes Only.  Do Not Distribute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EDD06C-63B5-4C70-A486-31AD6F7916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425933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, Deliberative Document For Discussion Purposes Only.  Do Not Distribute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EDD06C-63B5-4C70-A486-31AD6F7916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107105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, Deliberative Document For Discussion Purposes Only.  Do Not Distribute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EDD06C-63B5-4C70-A486-31AD6F7916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553333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, Deliberative Document For Discussion Purposes Only.  Do Not Distribute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EDD06C-63B5-4C70-A486-31AD6F7916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184019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, Deliberative Document For Discussion Purposes Only.  Do Not Distribut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EDD06C-63B5-4C70-A486-31AD6F7916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562993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, Deliberative Document For Discussion Purposes Only.  Do Not Distribute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EDD06C-63B5-4C70-A486-31AD6F7916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759144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, Deliberative Document For Discussion Purposes Only.  Do Not Distribute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EDD06C-63B5-4C70-A486-31AD6F7916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569885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, Deliberative Document For Discussion Purposes Only.  Do Not Distribute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EDD06C-63B5-4C70-A486-31AD6F7916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6109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685800" y="2438402"/>
            <a:ext cx="7772400" cy="1470025"/>
          </a:xfrm>
        </p:spPr>
        <p:txBody>
          <a:bodyPr>
            <a:normAutofit/>
          </a:bodyPr>
          <a:lstStyle>
            <a:lvl1pPr algn="ctr">
              <a:defRPr sz="4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1371600" y="41148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0247" y="5899768"/>
            <a:ext cx="921016" cy="648679"/>
          </a:xfrm>
          <a:prstGeom prst="rect">
            <a:avLst/>
          </a:prstGeom>
        </p:spPr>
      </p:pic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356352"/>
            <a:ext cx="5562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l"/>
            <a:r>
              <a:rPr lang="en-US"/>
              <a:t>Confidential, Deliberative Document For Discussion Purposes Only.  Do Not Distribute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285273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, Deliberative Document For Discussion Purposes Only.  Do Not Distribute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EDD06C-63B5-4C70-A486-31AD6F7916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416494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, Deliberative Document For Discussion Purposes Only.  Do Not Distribute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22E4A-59C1-4463-87A2-9D70816548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068212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, Deliberative Document For Discussion Purposes Only.  Do Not Distribute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22E4A-59C1-4463-87A2-9D70816548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157889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, Deliberative Document For Discussion Purposes Only.  Do Not Distribute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22E4A-59C1-4463-87A2-9D70816548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845591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, Deliberative Document For Discussion Purposes Only.  Do Not Distribute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22E4A-59C1-4463-87A2-9D70816548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223250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, Deliberative Document For Discussion Purposes Only.  Do Not Distribute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22E4A-59C1-4463-87A2-9D70816548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616112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, Deliberative Document For Discussion Purposes Only.  Do Not Distribute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22E4A-59C1-4463-87A2-9D70816548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308144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, Deliberative Document For Discussion Purposes Only.  Do Not Distribut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22E4A-59C1-4463-87A2-9D70816548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435362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, Deliberative Document For Discussion Purposes Only.  Do Not Distribute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22E4A-59C1-4463-87A2-9D70816548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091882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, Deliberative Document For Discussion Purposes Only.  Do Not Distribute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22E4A-59C1-4463-87A2-9D70816548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10542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93" b="72575"/>
          <a:stretch/>
        </p:blipFill>
        <p:spPr>
          <a:xfrm>
            <a:off x="0" y="-91440"/>
            <a:ext cx="9144000" cy="146304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56302"/>
            <a:ext cx="8229600" cy="4114512"/>
          </a:xfrm>
        </p:spPr>
        <p:txBody>
          <a:bodyPr/>
          <a:lstStyle>
            <a:lvl1pPr>
              <a:defRPr>
                <a:solidFill>
                  <a:srgbClr val="5E9732"/>
                </a:solidFill>
              </a:defRPr>
            </a:lvl1pPr>
            <a:lvl2pPr>
              <a:defRPr>
                <a:solidFill>
                  <a:srgbClr val="5E9732"/>
                </a:solidFill>
              </a:defRPr>
            </a:lvl2pPr>
            <a:lvl3pPr>
              <a:defRPr>
                <a:solidFill>
                  <a:srgbClr val="5E9732"/>
                </a:solidFill>
              </a:defRPr>
            </a:lvl3pPr>
            <a:lvl4pPr>
              <a:defRPr>
                <a:solidFill>
                  <a:srgbClr val="5E9732"/>
                </a:solidFill>
              </a:defRPr>
            </a:lvl4pPr>
            <a:lvl5pPr>
              <a:defRPr>
                <a:solidFill>
                  <a:srgbClr val="5E973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B8BC155-96A9-416C-9A6C-7FA79B5D88E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356352"/>
            <a:ext cx="5562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l"/>
            <a:r>
              <a:rPr lang="en-US"/>
              <a:t>Confidential, Deliberative Document For Discussion Purposes Only.  Do Not Distribute.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609602"/>
            <a:ext cx="8229600" cy="591431"/>
          </a:xfrm>
        </p:spPr>
        <p:txBody>
          <a:bodyPr>
            <a:noAutofit/>
          </a:bodyPr>
          <a:lstStyle>
            <a:lvl1pPr>
              <a:defRPr sz="3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0" y="134780"/>
            <a:ext cx="92964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spc="157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NNEVILLE</a:t>
            </a:r>
            <a:r>
              <a:rPr lang="en-US" sz="1000" spc="1570" baseline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OWER ADMINISTRATION</a:t>
            </a:r>
            <a:endParaRPr lang="en-US" sz="1000" spc="157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484601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, Deliberative Document For Discussion Purposes Only.  Do Not Distribute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22E4A-59C1-4463-87A2-9D70816548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92505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, Deliberative Document For Discussion Purposes Only.  Do Not Distribute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22E4A-59C1-4463-87A2-9D70816548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38531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5" b="75875"/>
          <a:stretch/>
        </p:blipFill>
        <p:spPr>
          <a:xfrm>
            <a:off x="0" y="-19050"/>
            <a:ext cx="9144000" cy="146304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B8BC155-96A9-416C-9A6C-7FA79B5D88E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356352"/>
            <a:ext cx="5562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l"/>
            <a:r>
              <a:rPr lang="en-US" dirty="0"/>
              <a:t>Confidential, Deliberative Document For Discussion Purposes Only.  Do Not Distribute.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1456302"/>
            <a:ext cx="8229600" cy="4114512"/>
          </a:xfrm>
        </p:spPr>
        <p:txBody>
          <a:bodyPr/>
          <a:lstStyle>
            <a:lvl1pPr>
              <a:defRPr>
                <a:solidFill>
                  <a:srgbClr val="5E9732"/>
                </a:solidFill>
              </a:defRPr>
            </a:lvl1pPr>
            <a:lvl2pPr>
              <a:defRPr>
                <a:solidFill>
                  <a:srgbClr val="5E9732"/>
                </a:solidFill>
              </a:defRPr>
            </a:lvl2pPr>
            <a:lvl3pPr>
              <a:defRPr>
                <a:solidFill>
                  <a:srgbClr val="5E9732"/>
                </a:solidFill>
              </a:defRPr>
            </a:lvl3pPr>
            <a:lvl4pPr>
              <a:defRPr>
                <a:solidFill>
                  <a:srgbClr val="5E9732"/>
                </a:solidFill>
              </a:defRPr>
            </a:lvl4pPr>
            <a:lvl5pPr>
              <a:defRPr>
                <a:solidFill>
                  <a:srgbClr val="5E973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itle 3"/>
          <p:cNvSpPr>
            <a:spLocks noGrp="1"/>
          </p:cNvSpPr>
          <p:nvPr>
            <p:ph type="title"/>
          </p:nvPr>
        </p:nvSpPr>
        <p:spPr>
          <a:xfrm>
            <a:off x="457200" y="609602"/>
            <a:ext cx="8229600" cy="591431"/>
          </a:xfrm>
        </p:spPr>
        <p:txBody>
          <a:bodyPr>
            <a:noAutofit/>
          </a:bodyPr>
          <a:lstStyle>
            <a:lvl1pPr>
              <a:defRPr sz="3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0" y="134780"/>
            <a:ext cx="92964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spc="157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NNEVILLE</a:t>
            </a:r>
            <a:r>
              <a:rPr lang="en-US" sz="1000" spc="1570" baseline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OWER ADMINISTRATION</a:t>
            </a:r>
            <a:endParaRPr lang="en-US" sz="1000" spc="157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73153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B8BC155-96A9-416C-9A6C-7FA79B5D88E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356352"/>
            <a:ext cx="5562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l"/>
            <a:r>
              <a:rPr lang="en-US"/>
              <a:t>Confidential, Deliberative Document For Discussion Purposes Only.  Do Not Distribute.</a:t>
            </a:r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57200" y="731772"/>
            <a:ext cx="8229600" cy="94462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5E973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idx="1"/>
          </p:nvPr>
        </p:nvSpPr>
        <p:spPr>
          <a:xfrm>
            <a:off x="457200" y="1805925"/>
            <a:ext cx="8229600" cy="41145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rgbClr val="5E9732"/>
                </a:solidFill>
              </a:defRPr>
            </a:lvl1pPr>
            <a:lvl2pPr>
              <a:defRPr>
                <a:solidFill>
                  <a:srgbClr val="5E9732"/>
                </a:solidFill>
              </a:defRPr>
            </a:lvl2pPr>
            <a:lvl3pPr>
              <a:defRPr>
                <a:solidFill>
                  <a:srgbClr val="5E9732"/>
                </a:solidFill>
              </a:defRPr>
            </a:lvl3pPr>
            <a:lvl4pPr>
              <a:defRPr>
                <a:solidFill>
                  <a:srgbClr val="5E9732"/>
                </a:solidFill>
              </a:defRPr>
            </a:lvl4pPr>
            <a:lvl5pPr>
              <a:defRPr>
                <a:solidFill>
                  <a:srgbClr val="5E973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187198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57200" y="731772"/>
            <a:ext cx="8229600" cy="94462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="0">
                <a:solidFill>
                  <a:srgbClr val="5E9732"/>
                </a:solidFill>
              </a:defRPr>
            </a:lvl1pPr>
          </a:lstStyle>
          <a:p>
            <a:r>
              <a:rPr lang="en-US" dirty="0"/>
              <a:t>4 Strategic Goals</a:t>
            </a: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356352"/>
            <a:ext cx="5562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l"/>
            <a:r>
              <a:rPr lang="en-US"/>
              <a:t>Confidential, Deliberative Document For Discussion Purposes Only.  Do Not Distribute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46886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2" y="1594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594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1" y="6791114"/>
            <a:ext cx="9144000" cy="66887"/>
          </a:xfrm>
          <a:prstGeom prst="rect">
            <a:avLst/>
          </a:prstGeom>
          <a:gradFill>
            <a:gsLst>
              <a:gs pos="0">
                <a:schemeClr val="accent3"/>
              </a:gs>
              <a:gs pos="51000">
                <a:schemeClr val="accent4"/>
              </a:gs>
              <a:gs pos="10000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01" tIns="34250" rIns="68501" bIns="34250" rtlCol="0" anchor="ctr"/>
          <a:lstStyle/>
          <a:p>
            <a:pPr algn="ctr"/>
            <a:endParaRPr lang="en-US" sz="135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256" y="510387"/>
            <a:ext cx="8641490" cy="415370"/>
          </a:xfrm>
        </p:spPr>
        <p:txBody>
          <a:bodyPr lIns="0" tIns="0" rIns="0" bIns="0" anchor="t" anchorCtr="0">
            <a:spAutoFit/>
          </a:bodyPr>
          <a:lstStyle>
            <a:lvl1pPr>
              <a:defRPr sz="2699" b="0">
                <a:solidFill>
                  <a:schemeClr val="accent3">
                    <a:lumMod val="90000"/>
                    <a:lumOff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1256" y="1616118"/>
            <a:ext cx="8641490" cy="4560851"/>
          </a:xfrm>
        </p:spPr>
        <p:txBody>
          <a:bodyPr>
            <a:normAutofit/>
          </a:bodyPr>
          <a:lstStyle>
            <a:lvl1pPr>
              <a:defRPr sz="1050">
                <a:latin typeface="+mn-lt"/>
              </a:defRPr>
            </a:lvl1pPr>
            <a:lvl2pPr>
              <a:defRPr sz="1050">
                <a:latin typeface="+mn-lt"/>
              </a:defRPr>
            </a:lvl2pPr>
            <a:lvl3pPr>
              <a:defRPr sz="105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50"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98792" y="6288943"/>
            <a:ext cx="293953" cy="365125"/>
          </a:xfrm>
        </p:spPr>
        <p:txBody>
          <a:bodyPr/>
          <a:lstStyle>
            <a:lvl1pPr algn="ctr">
              <a:defRPr sz="750">
                <a:solidFill>
                  <a:schemeClr val="accent4"/>
                </a:solidFill>
              </a:defRPr>
            </a:lvl1pPr>
          </a:lstStyle>
          <a:p>
            <a:fld id="{B1EEA229-0096-49BD-81C1-58B039421B7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 userDrawn="1">
            <p:ph type="body" sz="quarter" idx="13"/>
          </p:nvPr>
        </p:nvSpPr>
        <p:spPr>
          <a:xfrm>
            <a:off x="251256" y="1001704"/>
            <a:ext cx="8641490" cy="317426"/>
          </a:xfrm>
        </p:spPr>
        <p:txBody>
          <a:bodyPr lIns="0" tIns="0" rIns="0" bIns="0">
            <a:noAutofit/>
          </a:bodyPr>
          <a:lstStyle>
            <a:lvl1pPr marL="0" indent="0" algn="l" defTabSz="68537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500" b="0" kern="1200" dirty="0" smtClean="0">
                <a:solidFill>
                  <a:schemeClr val="accent5"/>
                </a:solidFill>
                <a:latin typeface="+mn-lt"/>
                <a:ea typeface="+mj-ea"/>
                <a:cs typeface="+mj-cs"/>
              </a:defRPr>
            </a:lvl1pPr>
            <a:lvl2pPr marL="342686" indent="0" algn="l" defTabSz="68537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174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2pPr>
            <a:lvl3pPr marL="685376" indent="0" algn="l" defTabSz="68537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174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3pPr>
            <a:lvl4pPr marL="1028062" indent="0" algn="l" defTabSz="68537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174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4pPr>
            <a:lvl5pPr marL="1370749" indent="0" algn="l" defTabSz="68537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174" b="0" kern="1200" dirty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33367" y="134753"/>
            <a:ext cx="6773157" cy="184585"/>
          </a:xfrm>
          <a:prstGeom prst="rect">
            <a:avLst/>
          </a:prstGeom>
          <a:noFill/>
        </p:spPr>
        <p:txBody>
          <a:bodyPr wrap="square" lIns="68501" tIns="34250" rIns="68501" bIns="34250" rtlCol="0">
            <a:spAutoFit/>
          </a:bodyPr>
          <a:lstStyle/>
          <a:p>
            <a:pPr algn="ctr"/>
            <a:r>
              <a:rPr lang="en-US" sz="750" spc="1178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NNEVILLE</a:t>
            </a:r>
            <a:r>
              <a:rPr lang="en-US" sz="750" spc="1178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OWER ADMINISTRATION</a:t>
            </a:r>
            <a:endParaRPr lang="en-US" sz="750" spc="1178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8792" y="82298"/>
            <a:ext cx="456025" cy="428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709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86">
          <p15:clr>
            <a:srgbClr val="FBAE40"/>
          </p15:clr>
        </p15:guide>
        <p15:guide id="2" pos="211">
          <p15:clr>
            <a:srgbClr val="FBAE40"/>
          </p15:clr>
        </p15:guide>
        <p15:guide id="3" pos="7468">
          <p15:clr>
            <a:srgbClr val="FBAE40"/>
          </p15:clr>
        </p15:guide>
        <p15:guide id="4" orient="horz" pos="913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, Deliberative Document For Discussion Purposes Only.  Do Not Distribute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2B654F-B615-44E0-B6B8-7C8B3AFAF8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60669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-16626"/>
            <a:ext cx="9144000" cy="45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944315"/>
            <a:ext cx="8229600" cy="59143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805925"/>
            <a:ext cx="8229600" cy="41145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356352"/>
            <a:ext cx="5562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l"/>
            <a:r>
              <a:rPr lang="en-US"/>
              <a:t>Confidential, Deliberative Document For Discussion Purposes Only.  Do Not Distribute.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B8BC155-96A9-416C-9A6C-7FA79B5D88E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0" y="134780"/>
            <a:ext cx="92964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spc="1570" dirty="0">
                <a:latin typeface="Arial" panose="020B0604020202020204" pitchFamily="34" charset="0"/>
                <a:cs typeface="Arial" panose="020B0604020202020204" pitchFamily="34" charset="0"/>
              </a:rPr>
              <a:t>BONNEVILLE</a:t>
            </a:r>
            <a:r>
              <a:rPr lang="en-US" sz="1000" spc="1570" baseline="0" dirty="0">
                <a:latin typeface="Arial" panose="020B0604020202020204" pitchFamily="34" charset="0"/>
                <a:cs typeface="Arial" panose="020B0604020202020204" pitchFamily="34" charset="0"/>
              </a:rPr>
              <a:t> POWER ADMINISTRATION</a:t>
            </a:r>
            <a:endParaRPr lang="en-US" sz="1000" spc="157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04596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7" r:id="rId2"/>
    <p:sldLayoutId id="2147483654" r:id="rId3"/>
    <p:sldLayoutId id="2147483696" r:id="rId4"/>
    <p:sldLayoutId id="2147483698" r:id="rId5"/>
    <p:sldLayoutId id="2147483650" r:id="rId6"/>
    <p:sldLayoutId id="2147483699" r:id="rId7"/>
    <p:sldLayoutId id="2147483700" r:id="rId8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4000" b="1" kern="1200">
          <a:solidFill>
            <a:srgbClr val="5E973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rgbClr val="5E9732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rgbClr val="5E9732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rgbClr val="5E9732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rgbClr val="5E9732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rgbClr val="5E9732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onfidential, Deliberative Document For Discussion Purposes Only.  Do Not Distribute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2B654F-B615-44E0-B6B8-7C8B3AFAF8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38873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onfidential, Deliberative Document For Discussion Purposes Only.  Do Not Distribute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EDD06C-63B5-4C70-A486-31AD6F7916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7037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onfidential, Deliberative Document For Discussion Purposes Only.  Do Not Distribute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8322E4A-59C1-4463-87A2-9D70816548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97860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8.jp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3810000"/>
            <a:ext cx="7772400" cy="1470025"/>
          </a:xfrm>
        </p:spPr>
        <p:txBody>
          <a:bodyPr>
            <a:normAutofit fontScale="90000"/>
          </a:bodyPr>
          <a:lstStyle/>
          <a:p>
            <a:pPr>
              <a:lnSpc>
                <a:spcPct val="150000"/>
              </a:lnSpc>
            </a:pPr>
            <a:r>
              <a:rPr lang="en-US" dirty="0"/>
              <a:t>LSRCP Annual Meeting</a:t>
            </a:r>
            <a:br>
              <a:rPr lang="en-US" dirty="0"/>
            </a:br>
            <a:r>
              <a:rPr lang="en-US" sz="2700" dirty="0"/>
              <a:t>Funding and Agreements Update</a:t>
            </a:r>
            <a:br>
              <a:rPr lang="en-US" sz="2700" dirty="0"/>
            </a:br>
            <a:r>
              <a:rPr lang="en-US" dirty="0"/>
              <a:t>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124200" y="5334000"/>
            <a:ext cx="30480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2800" b="1" dirty="0">
              <a:solidFill>
                <a:schemeClr val="bg1"/>
              </a:solidFill>
            </a:endParaRPr>
          </a:p>
          <a:p>
            <a:pPr algn="ctr"/>
            <a:r>
              <a:rPr lang="en-US" sz="2800" b="1" dirty="0">
                <a:solidFill>
                  <a:schemeClr val="bg1"/>
                </a:solidFill>
              </a:rPr>
              <a:t>Andy Traylor</a:t>
            </a:r>
          </a:p>
          <a:p>
            <a:pPr algn="ctr"/>
            <a:r>
              <a:rPr lang="en-US" sz="2800" b="1" dirty="0">
                <a:solidFill>
                  <a:schemeClr val="bg1"/>
                </a:solidFill>
              </a:rPr>
              <a:t>May 8, 2024</a:t>
            </a:r>
          </a:p>
        </p:txBody>
      </p:sp>
    </p:spTree>
    <p:extLst>
      <p:ext uri="{BB962C8B-B14F-4D97-AF65-F5344CB8AC3E}">
        <p14:creationId xmlns:p14="http://schemas.microsoft.com/office/powerpoint/2010/main" val="29471796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99A3FAF-539C-310A-7358-6A3E5107B1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8BC155-96A9-416C-9A6C-7FA79B5D88ED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C732FBD-E94B-6445-A43B-208AA71F5C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454051"/>
            <a:ext cx="8229600" cy="944628"/>
          </a:xfrm>
        </p:spPr>
        <p:txBody>
          <a:bodyPr>
            <a:normAutofit/>
          </a:bodyPr>
          <a:lstStyle/>
          <a:p>
            <a:r>
              <a:rPr lang="en-US" sz="3600" dirty="0">
                <a:solidFill>
                  <a:schemeClr val="tx2"/>
                </a:solidFill>
              </a:rPr>
              <a:t>Budget Landscap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674538-0BB9-A30B-E380-44BBFEA092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114512"/>
          </a:xfrm>
        </p:spPr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chemeClr val="tx2"/>
                </a:solidFill>
              </a:rPr>
              <a:t>OM&amp;ME Annual Funding</a:t>
            </a:r>
          </a:p>
          <a:p>
            <a:pPr lvl="1"/>
            <a:r>
              <a:rPr lang="en-US" sz="2000" dirty="0">
                <a:solidFill>
                  <a:schemeClr val="tx2"/>
                </a:solidFill>
              </a:rPr>
              <a:t>3 years into 7-year OM&amp;ME MOA</a:t>
            </a:r>
          </a:p>
          <a:p>
            <a:pPr lvl="1"/>
            <a:r>
              <a:rPr lang="en-US" sz="2000" dirty="0">
                <a:solidFill>
                  <a:schemeClr val="tx2"/>
                </a:solidFill>
              </a:rPr>
              <a:t>Opportunity to extend additional 6 years in 2028</a:t>
            </a:r>
          </a:p>
          <a:p>
            <a:pPr lvl="1"/>
            <a:r>
              <a:rPr lang="en-US" sz="2000" dirty="0">
                <a:solidFill>
                  <a:schemeClr val="tx2"/>
                </a:solidFill>
              </a:rPr>
              <a:t>Integrated Program Review (IPR) for BP-26 (FY 26-28) in June</a:t>
            </a:r>
          </a:p>
          <a:p>
            <a:pPr lvl="1"/>
            <a:r>
              <a:rPr lang="en-US" sz="2000" dirty="0">
                <a:solidFill>
                  <a:schemeClr val="tx2"/>
                </a:solidFill>
              </a:rPr>
              <a:t>Unique 3-year rate period to sync with long-term power sales contracts set to expire in Sep 2028</a:t>
            </a:r>
          </a:p>
          <a:p>
            <a:pPr lvl="1"/>
            <a:r>
              <a:rPr lang="en-US" sz="2000" dirty="0">
                <a:solidFill>
                  <a:schemeClr val="tx2"/>
                </a:solidFill>
              </a:rPr>
              <a:t>LSRCP proposed to receive inflationary increase, commensurate with agency-wide cost management benchmarks</a:t>
            </a:r>
          </a:p>
        </p:txBody>
      </p:sp>
    </p:spTree>
    <p:extLst>
      <p:ext uri="{BB962C8B-B14F-4D97-AF65-F5344CB8AC3E}">
        <p14:creationId xmlns:p14="http://schemas.microsoft.com/office/powerpoint/2010/main" val="19762515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99A3FAF-539C-310A-7358-6A3E5107B1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8BC155-96A9-416C-9A6C-7FA79B5D88ED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C732FBD-E94B-6445-A43B-208AA71F5C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454051"/>
            <a:ext cx="8229600" cy="944628"/>
          </a:xfrm>
        </p:spPr>
        <p:txBody>
          <a:bodyPr>
            <a:normAutofit/>
          </a:bodyPr>
          <a:lstStyle/>
          <a:p>
            <a:r>
              <a:rPr lang="en-US" sz="3600" dirty="0">
                <a:solidFill>
                  <a:schemeClr val="tx2"/>
                </a:solidFill>
              </a:rPr>
              <a:t>Budget Landscap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674538-0BB9-A30B-E380-44BBFEA092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114512"/>
          </a:xfrm>
        </p:spPr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chemeClr val="tx2"/>
                </a:solidFill>
              </a:rPr>
              <a:t>Reserves Distribution Clause (RDC)</a:t>
            </a:r>
          </a:p>
          <a:p>
            <a:pPr lvl="1"/>
            <a:r>
              <a:rPr lang="en-US" sz="2000" dirty="0">
                <a:solidFill>
                  <a:schemeClr val="tx2"/>
                </a:solidFill>
              </a:rPr>
              <a:t>$25M for non-routine, deferred maintenance</a:t>
            </a:r>
          </a:p>
          <a:p>
            <a:pPr lvl="1"/>
            <a:r>
              <a:rPr lang="en-US" sz="2000" dirty="0">
                <a:solidFill>
                  <a:schemeClr val="tx2"/>
                </a:solidFill>
              </a:rPr>
              <a:t>Funding available FY23 through end of FY27 </a:t>
            </a:r>
          </a:p>
          <a:p>
            <a:pPr lvl="1"/>
            <a:r>
              <a:rPr lang="en-US" sz="2000" dirty="0">
                <a:solidFill>
                  <a:schemeClr val="tx2"/>
                </a:solidFill>
              </a:rPr>
              <a:t>Full amount available to USFWS as of Aug 2023 via IAA</a:t>
            </a:r>
          </a:p>
          <a:p>
            <a:pPr lvl="1"/>
            <a:endParaRPr lang="en-US" sz="2000" dirty="0">
              <a:solidFill>
                <a:schemeClr val="tx2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CDAB1A9-D15B-6238-3AE3-80C19105987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006" y="3657456"/>
            <a:ext cx="3943352" cy="2957515"/>
          </a:xfrm>
          <a:prstGeom prst="rect">
            <a:avLst/>
          </a:prstGeom>
        </p:spPr>
      </p:pic>
      <p:pic>
        <p:nvPicPr>
          <p:cNvPr id="8" name="Picture 7" descr="A construction vehicle working on a dam&#10;&#10;Description automatically generated">
            <a:extLst>
              <a:ext uri="{FF2B5EF4-FFF2-40B4-BE49-F238E27FC236}">
                <a16:creationId xmlns:a16="http://schemas.microsoft.com/office/drawing/2014/main" id="{CE17D260-D931-E91B-AF4A-8C01384AC3C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42" y="3657457"/>
            <a:ext cx="3943352" cy="2957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0127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99A3FAF-539C-310A-7358-6A3E5107B1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8BC155-96A9-416C-9A6C-7FA79B5D88ED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C732FBD-E94B-6445-A43B-208AA71F5C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454051"/>
            <a:ext cx="8229600" cy="944628"/>
          </a:xfrm>
        </p:spPr>
        <p:txBody>
          <a:bodyPr>
            <a:normAutofit/>
          </a:bodyPr>
          <a:lstStyle/>
          <a:p>
            <a:r>
              <a:rPr lang="en-US" sz="3600" dirty="0">
                <a:solidFill>
                  <a:schemeClr val="tx2"/>
                </a:solidFill>
              </a:rPr>
              <a:t>Budget Landscap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674538-0BB9-A30B-E380-44BBFEA092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114512"/>
          </a:xfrm>
        </p:spPr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chemeClr val="tx2"/>
                </a:solidFill>
              </a:rPr>
              <a:t>Resilient Columbia Basin Agreement </a:t>
            </a:r>
          </a:p>
          <a:p>
            <a:pPr lvl="1"/>
            <a:r>
              <a:rPr lang="en-US" sz="2000" dirty="0">
                <a:solidFill>
                  <a:schemeClr val="tx2"/>
                </a:solidFill>
              </a:rPr>
              <a:t>Contains various USG commitments, some of which will be implemented by BPA</a:t>
            </a:r>
          </a:p>
          <a:p>
            <a:pPr lvl="1"/>
            <a:r>
              <a:rPr lang="en-US" sz="2000" dirty="0">
                <a:solidFill>
                  <a:schemeClr val="tx2"/>
                </a:solidFill>
                <a:latin typeface="Calibri" panose="020F0502020204030204" pitchFamily="34" charset="0"/>
              </a:rPr>
              <a:t>Relevant to LSRCP: $200M over 10 years in capital funding will be available for hatchery modernization, upgrades, and non-recurring maintenance, as guided by the priorities of other fishery managers including the Six Sovereigns.</a:t>
            </a:r>
          </a:p>
          <a:p>
            <a:pPr lvl="1"/>
            <a:r>
              <a:rPr lang="en-US" sz="2000" dirty="0">
                <a:solidFill>
                  <a:schemeClr val="tx2"/>
                </a:solidFill>
                <a:latin typeface="Calibri" panose="020F0502020204030204" pitchFamily="34" charset="0"/>
              </a:rPr>
              <a:t>Capital funding MOA in development</a:t>
            </a:r>
          </a:p>
          <a:p>
            <a:pPr algn="l"/>
            <a:endParaRPr lang="en-US" sz="2000" dirty="0">
              <a:solidFill>
                <a:schemeClr val="tx2"/>
              </a:solidFill>
            </a:endParaRPr>
          </a:p>
          <a:p>
            <a:pPr lvl="1"/>
            <a:endParaRPr lang="en-US" sz="20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96299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Flow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362108E905C6F4C9376ACDDDE1C27A9" ma:contentTypeVersion="0" ma:contentTypeDescription="Create a new document." ma:contentTypeScope="" ma:versionID="f25b807a685e43ce880db42de84441e3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8022916f55ab85163ee9a5069dec31d5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4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Props1.xml><?xml version="1.0" encoding="utf-8"?>
<ds:datastoreItem xmlns:ds="http://schemas.openxmlformats.org/officeDocument/2006/customXml" ds:itemID="{1475E49D-A4B4-467F-BC03-B797EFCD919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9DD1525C-09CE-46FA-BE50-EBABC8B2AEA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95D0086-00B4-4751-979B-52AFF60C19E5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4D451E3E-6069-41AC-B913-4330CA5C2CD3}">
  <ds:schemaRefs>
    <ds:schemaRef ds:uri="http://schemas.microsoft.com/office/2006/metadata/customXs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1830</TotalTime>
  <Words>232</Words>
  <Application>Microsoft Office PowerPoint</Application>
  <PresentationFormat>On-screen Show (4:3)</PresentationFormat>
  <Paragraphs>34</Paragraphs>
  <Slides>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1" baseType="lpstr">
      <vt:lpstr>Arial</vt:lpstr>
      <vt:lpstr>Calibri</vt:lpstr>
      <vt:lpstr>Office Theme</vt:lpstr>
      <vt:lpstr>2_Custom Design</vt:lpstr>
      <vt:lpstr>1_Custom Design</vt:lpstr>
      <vt:lpstr>Custom Design</vt:lpstr>
      <vt:lpstr>think-cell Slide</vt:lpstr>
      <vt:lpstr>LSRCP Annual Meeting Funding and Agreements Update  </vt:lpstr>
      <vt:lpstr>Budget Landscape</vt:lpstr>
      <vt:lpstr>Budget Landscape</vt:lpstr>
      <vt:lpstr>Budget Landscape</vt:lpstr>
    </vt:vector>
  </TitlesOfParts>
  <Company>Bonneville Power Administr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PA User</dc:creator>
  <cp:keywords/>
  <dc:description/>
  <cp:lastModifiedBy>Traylor,Andrew W (BPA) - EWU-4</cp:lastModifiedBy>
  <cp:revision>356</cp:revision>
  <dcterms:created xsi:type="dcterms:W3CDTF">2013-09-16T17:48:00Z</dcterms:created>
  <dcterms:modified xsi:type="dcterms:W3CDTF">2024-05-08T18:36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362108E905C6F4C9376ACDDDE1C27A9</vt:lpwstr>
  </property>
</Properties>
</file>